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18"/>
  </p:notesMasterIdLst>
  <p:sldIdLst>
    <p:sldId id="261" r:id="rId3"/>
    <p:sldId id="270" r:id="rId4"/>
    <p:sldId id="282" r:id="rId5"/>
    <p:sldId id="283" r:id="rId6"/>
    <p:sldId id="289" r:id="rId7"/>
    <p:sldId id="273" r:id="rId8"/>
    <p:sldId id="262" r:id="rId9"/>
    <p:sldId id="287" r:id="rId10"/>
    <p:sldId id="288" r:id="rId11"/>
    <p:sldId id="265" r:id="rId12"/>
    <p:sldId id="266" r:id="rId13"/>
    <p:sldId id="267" r:id="rId14"/>
    <p:sldId id="275" r:id="rId15"/>
    <p:sldId id="279" r:id="rId16"/>
    <p:sldId id="278" r:id="rId17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6404" autoAdjust="0"/>
  </p:normalViewPr>
  <p:slideViewPr>
    <p:cSldViewPr snapToGrid="0">
      <p:cViewPr varScale="1">
        <p:scale>
          <a:sx n="107" d="100"/>
          <a:sy n="107" d="100"/>
        </p:scale>
        <p:origin x="6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10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8432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923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657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81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опросам индивидуального </a:t>
            </a:r>
          </a:p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оходного налога 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стана, октябрь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ВЕДЕНИЕ ПРОГРЕССИВНОЙ ШКАЛЫ ИПН ПО ФОТ (1/2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378" y="675407"/>
            <a:ext cx="11266260" cy="586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790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ПРОГРЕССИВНОЙ ШКАЛЫ ИПН ПО ФОТ (1/3)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267" y="711620"/>
            <a:ext cx="11297624" cy="580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481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ПРОГРЕССИВНОЙ ШКАЛЫ ИПН ПО ФОТ (1/4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056" y="692384"/>
            <a:ext cx="11171208" cy="584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779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ПРОГРЕССИВНОЙ ШКАЛЫ ИПН ПО ФОТ (1/5)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071554"/>
              </p:ext>
            </p:extLst>
          </p:nvPr>
        </p:nvGraphicFramePr>
        <p:xfrm>
          <a:off x="251305" y="943932"/>
          <a:ext cx="11678505" cy="1842610"/>
        </p:xfrm>
        <a:graphic>
          <a:graphicData uri="http://schemas.openxmlformats.org/drawingml/2006/table">
            <a:tbl>
              <a:tblPr/>
              <a:tblGrid>
                <a:gridCol w="852854">
                  <a:extLst>
                    <a:ext uri="{9D8B030D-6E8A-4147-A177-3AD203B41FA5}">
                      <a16:colId xmlns:a16="http://schemas.microsoft.com/office/drawing/2014/main" val="4179891286"/>
                    </a:ext>
                  </a:extLst>
                </a:gridCol>
                <a:gridCol w="1072661">
                  <a:extLst>
                    <a:ext uri="{9D8B030D-6E8A-4147-A177-3AD203B41FA5}">
                      <a16:colId xmlns:a16="http://schemas.microsoft.com/office/drawing/2014/main" val="1153420028"/>
                    </a:ext>
                  </a:extLst>
                </a:gridCol>
                <a:gridCol w="1169377">
                  <a:extLst>
                    <a:ext uri="{9D8B030D-6E8A-4147-A177-3AD203B41FA5}">
                      <a16:colId xmlns:a16="http://schemas.microsoft.com/office/drawing/2014/main" val="3362917234"/>
                    </a:ext>
                  </a:extLst>
                </a:gridCol>
                <a:gridCol w="1274885">
                  <a:extLst>
                    <a:ext uri="{9D8B030D-6E8A-4147-A177-3AD203B41FA5}">
                      <a16:colId xmlns:a16="http://schemas.microsoft.com/office/drawing/2014/main" val="624037912"/>
                    </a:ext>
                  </a:extLst>
                </a:gridCol>
                <a:gridCol w="1310053">
                  <a:extLst>
                    <a:ext uri="{9D8B030D-6E8A-4147-A177-3AD203B41FA5}">
                      <a16:colId xmlns:a16="http://schemas.microsoft.com/office/drawing/2014/main" val="3049956758"/>
                    </a:ext>
                  </a:extLst>
                </a:gridCol>
                <a:gridCol w="1186962">
                  <a:extLst>
                    <a:ext uri="{9D8B030D-6E8A-4147-A177-3AD203B41FA5}">
                      <a16:colId xmlns:a16="http://schemas.microsoft.com/office/drawing/2014/main" val="1087876751"/>
                    </a:ext>
                  </a:extLst>
                </a:gridCol>
                <a:gridCol w="1266092">
                  <a:extLst>
                    <a:ext uri="{9D8B030D-6E8A-4147-A177-3AD203B41FA5}">
                      <a16:colId xmlns:a16="http://schemas.microsoft.com/office/drawing/2014/main" val="1546795113"/>
                    </a:ext>
                  </a:extLst>
                </a:gridCol>
                <a:gridCol w="1213339">
                  <a:extLst>
                    <a:ext uri="{9D8B030D-6E8A-4147-A177-3AD203B41FA5}">
                      <a16:colId xmlns:a16="http://schemas.microsoft.com/office/drawing/2014/main" val="1227119803"/>
                    </a:ext>
                  </a:extLst>
                </a:gridCol>
                <a:gridCol w="1259122">
                  <a:extLst>
                    <a:ext uri="{9D8B030D-6E8A-4147-A177-3AD203B41FA5}">
                      <a16:colId xmlns:a16="http://schemas.microsoft.com/office/drawing/2014/main" val="1300571814"/>
                    </a:ext>
                  </a:extLst>
                </a:gridCol>
                <a:gridCol w="1073160">
                  <a:extLst>
                    <a:ext uri="{9D8B030D-6E8A-4147-A177-3AD203B41FA5}">
                      <a16:colId xmlns:a16="http://schemas.microsoft.com/office/drawing/2014/main" val="2073378037"/>
                    </a:ext>
                  </a:extLst>
                </a:gridCol>
              </a:tblGrid>
              <a:tr h="598453"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лн. тенге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53682"/>
                  </a:ext>
                </a:extLst>
              </a:tr>
              <a:tr h="59583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год, ставка 1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год,</a:t>
                      </a:r>
                      <a:r>
                        <a:rPr lang="ru-RU" sz="1400" b="1" i="0" u="none" strike="noStrike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вка 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клоне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год, ставка 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клоне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 год, ставка 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клоне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0790816"/>
                  </a:ext>
                </a:extLst>
              </a:tr>
              <a:tr h="64832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697 9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63 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545 9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00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4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55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9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309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3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3172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11307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8069" y="1083941"/>
            <a:ext cx="1142047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налоговых вычетов на обучение, медицину, вознаграждение по ипотечным жилищным займам, для многодетных семей, требующих документальное подтверждение физическими лицами</a:t>
            </a: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идеология налоговых вычетов: базовый налоговый вычет </a:t>
            </a: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МРП для всех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циальные вычеты (лица с инвалидностью, ветераны, усыновители, опекуны), вычет социальных платежей (ОПВ, ОСМС)</a:t>
            </a: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ЕДЛАГАЕМЫЕ ПОДХОДЫ ПО ИПН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43353" y="3463719"/>
            <a:ext cx="836441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Aft>
                <a:spcPts val="300"/>
              </a:spcAft>
              <a:defRPr/>
            </a:pPr>
            <a:r>
              <a:rPr kumimoji="1" lang="ru-RU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Н=(ЗП-ОПВ – 882 МРП (лица с инвалидностью) - 30 МРП (все)*10%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63794" y="4259262"/>
            <a:ext cx="114050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налогообложения пенсионных выплат, в том числе единовременных пенсионных выплат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61596" y="5226784"/>
            <a:ext cx="113347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дохода от прироста стоимости при реализации ценных бумаг с учетом отрицательных  и положительных результатов сделок и вычет вознаграждений брокера</a:t>
            </a:r>
          </a:p>
          <a:p>
            <a:pPr marL="180975" algn="just">
              <a:spcAft>
                <a:spcPts val="1200"/>
              </a:spcAft>
              <a:buClr>
                <a:srgbClr val="0070CE"/>
              </a:buClr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080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ЫЕ ПОДХОД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6073" y="1441938"/>
            <a:ext cx="1064895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 структуры раздела с выделением отдельных глав при обложении самостоятельно и налоговым агентом с классификацией доходов и их уменьшений (корректировок)</a:t>
            </a: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нтаризация и структурирование налоговых льгот по тематике видов доходов, раскрытие дохода от прироста стоимости по видам имущества</a:t>
            </a: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физического лица на корректировку налоговых вычетов посредством представления декларации</a:t>
            </a: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3875" indent="-342900" algn="just">
              <a:spcAft>
                <a:spcPts val="1200"/>
              </a:spcAft>
              <a:buClr>
                <a:srgbClr val="0070CE"/>
              </a:buClr>
              <a:buFont typeface="Wingdings" panose="05000000000000000000" pitchFamily="2" charset="2"/>
              <a:buChar char="ü"/>
              <a:tabLst>
                <a:tab pos="0" algn="l"/>
              </a:tabLst>
            </a:pPr>
            <a:endParaRPr lang="ru-RU" alt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953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3" descr="C:\Users\kazbekov_e\Downloads\dsc-8977-24_mediumThumb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536105" y="517831"/>
            <a:ext cx="3067410" cy="196841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69329" y="3561193"/>
            <a:ext cx="6826614" cy="2062103"/>
          </a:xfrm>
          <a:prstGeom prst="rect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indent="265113" algn="just"/>
            <a:r>
              <a:rPr lang="ru-RU" sz="1600" dirty="0">
                <a:latin typeface="Arial" pitchFamily="34" charset="0"/>
                <a:cs typeface="Arial" pitchFamily="34" charset="0"/>
              </a:rPr>
              <a:t>С 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2007 год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произведен переход от прогрессивной шкалы к «плоской» ставке ИПН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10 %.</a:t>
            </a:r>
          </a:p>
          <a:p>
            <a:pPr indent="265113" algn="just"/>
            <a:r>
              <a:rPr lang="ru-RU" sz="1600" dirty="0">
                <a:latin typeface="Arial" pitchFamily="34" charset="0"/>
                <a:cs typeface="Arial" pitchFamily="34" charset="0"/>
              </a:rPr>
              <a:t>С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2019 год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в реализацию поручения Главы государства при налогообложении доходов низкооплачиваемых работников (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доход за месяц у которых не превышает 25 МРП или 92 300 тенге в 2024 году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) применяется уменьшение налогооблагаемого дохода на 90%, что фактически означает применение ставки в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1%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к доходам таких работников. </a:t>
            </a:r>
            <a:endParaRPr lang="ru-RU" sz="16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36416" y="3561194"/>
            <a:ext cx="4066289" cy="2062103"/>
          </a:xfrm>
          <a:prstGeom prst="rect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indent="265113" algn="just"/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2007 года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рименялась </a:t>
            </a:r>
            <a:b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-х ступенчатая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грессивная 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кала обложения ИПН, с налоговыми ставками 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 5 % до 20 %</a:t>
            </a:r>
            <a:r>
              <a:rPr lang="ru-RU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5%, 10%, 15% и 20% при превышении пороговых значений). </a:t>
            </a:r>
          </a:p>
          <a:p>
            <a:pPr indent="265113" algn="just"/>
            <a:r>
              <a:rPr lang="kk-KZ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 дивидендам и вознаграждениям действовала «плоская» ставка </a:t>
            </a:r>
            <a:r>
              <a:rPr lang="kk-KZ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5</a:t>
            </a:r>
            <a:r>
              <a:rPr lang="ru-RU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%.</a:t>
            </a:r>
          </a:p>
        </p:txBody>
      </p:sp>
      <p:sp>
        <p:nvSpPr>
          <p:cNvPr id="10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11607259" y="6356846"/>
            <a:ext cx="412929" cy="365125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2</a:t>
            </a:r>
            <a:endParaRPr lang="ru-RU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83622" y="1689662"/>
            <a:ext cx="80123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зрела необходимость установления дифференцированных ставок индивидуального подоходного налога.» (из Послания народу Казахстана «Справедливый Казахстан: закон и порядок, экономический рост, общественный оптимизм», 2 сентября 2024 года)</a:t>
            </a:r>
            <a:endParaRPr lang="en-US" sz="1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2FF8706-B89E-4D46-AD8E-12986D4ED8FF}"/>
              </a:ext>
            </a:extLst>
          </p:cNvPr>
          <p:cNvSpPr txBox="1"/>
          <p:nvPr/>
        </p:nvSpPr>
        <p:spPr>
          <a:xfrm>
            <a:off x="3783622" y="438913"/>
            <a:ext cx="801232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90477" fontAlgn="base">
              <a:spcBef>
                <a:spcPct val="0"/>
              </a:spcBef>
              <a:spcAft>
                <a:spcPct val="0"/>
              </a:spcAft>
              <a:buClr>
                <a:srgbClr val="E7E6E6">
                  <a:lumMod val="75000"/>
                </a:srgbClr>
              </a:buClr>
              <a:defRPr/>
            </a:pPr>
            <a:r>
              <a:rPr lang="ru-RU" sz="1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…во имя социальной справедливости пришло время проработать вопрос введения прогрессивной шкалы ИПН в отношении заработных плат и других видов дохода…» (из выступления на заключительном заседании Госкомиссии по чрезвычайному положению, 11 мая 2020 года)</a:t>
            </a:r>
            <a:endParaRPr lang="ru-RU" sz="1600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01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ЕКУЩАЯ СИТУАЦИЯ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637724"/>
              </p:ext>
            </p:extLst>
          </p:nvPr>
        </p:nvGraphicFramePr>
        <p:xfrm>
          <a:off x="389791" y="1043062"/>
          <a:ext cx="11224848" cy="5094326"/>
        </p:xfrm>
        <a:graphic>
          <a:graphicData uri="http://schemas.openxmlformats.org/drawingml/2006/table">
            <a:tbl>
              <a:tblPr/>
              <a:tblGrid>
                <a:gridCol w="1911725">
                  <a:extLst>
                    <a:ext uri="{9D8B030D-6E8A-4147-A177-3AD203B41FA5}">
                      <a16:colId xmlns:a16="http://schemas.microsoft.com/office/drawing/2014/main" val="2748315686"/>
                    </a:ext>
                  </a:extLst>
                </a:gridCol>
                <a:gridCol w="712979">
                  <a:extLst>
                    <a:ext uri="{9D8B030D-6E8A-4147-A177-3AD203B41FA5}">
                      <a16:colId xmlns:a16="http://schemas.microsoft.com/office/drawing/2014/main" val="3682227134"/>
                    </a:ext>
                  </a:extLst>
                </a:gridCol>
                <a:gridCol w="679028">
                  <a:extLst>
                    <a:ext uri="{9D8B030D-6E8A-4147-A177-3AD203B41FA5}">
                      <a16:colId xmlns:a16="http://schemas.microsoft.com/office/drawing/2014/main" val="733929164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1411739757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660591080"/>
                    </a:ext>
                  </a:extLst>
                </a:gridCol>
                <a:gridCol w="668581">
                  <a:extLst>
                    <a:ext uri="{9D8B030D-6E8A-4147-A177-3AD203B41FA5}">
                      <a16:colId xmlns:a16="http://schemas.microsoft.com/office/drawing/2014/main" val="3554640693"/>
                    </a:ext>
                  </a:extLst>
                </a:gridCol>
                <a:gridCol w="679028">
                  <a:extLst>
                    <a:ext uri="{9D8B030D-6E8A-4147-A177-3AD203B41FA5}">
                      <a16:colId xmlns:a16="http://schemas.microsoft.com/office/drawing/2014/main" val="1941852927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3699390703"/>
                    </a:ext>
                  </a:extLst>
                </a:gridCol>
                <a:gridCol w="681639">
                  <a:extLst>
                    <a:ext uri="{9D8B030D-6E8A-4147-A177-3AD203B41FA5}">
                      <a16:colId xmlns:a16="http://schemas.microsoft.com/office/drawing/2014/main" val="3063000877"/>
                    </a:ext>
                  </a:extLst>
                </a:gridCol>
                <a:gridCol w="689474">
                  <a:extLst>
                    <a:ext uri="{9D8B030D-6E8A-4147-A177-3AD203B41FA5}">
                      <a16:colId xmlns:a16="http://schemas.microsoft.com/office/drawing/2014/main" val="1591785783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4237782571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3468858590"/>
                    </a:ext>
                  </a:extLst>
                </a:gridCol>
                <a:gridCol w="783493">
                  <a:extLst>
                    <a:ext uri="{9D8B030D-6E8A-4147-A177-3AD203B41FA5}">
                      <a16:colId xmlns:a16="http://schemas.microsoft.com/office/drawing/2014/main" val="1064961761"/>
                    </a:ext>
                  </a:extLst>
                </a:gridCol>
                <a:gridCol w="806998">
                  <a:extLst>
                    <a:ext uri="{9D8B030D-6E8A-4147-A177-3AD203B41FA5}">
                      <a16:colId xmlns:a16="http://schemas.microsoft.com/office/drawing/2014/main" val="45389718"/>
                    </a:ext>
                  </a:extLst>
                </a:gridCol>
              </a:tblGrid>
              <a:tr h="189284"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 облагаемый у источника выплаты за 2023 год</a:t>
                      </a:r>
                    </a:p>
                    <a:p>
                      <a:pPr algn="r" fontAlgn="b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тенге</a:t>
                      </a: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ru-RU" sz="11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428984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области</a:t>
                      </a:r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нвар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еврал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т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прел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н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л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густ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тябр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тябр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ябр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кабрь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год</a:t>
                      </a:r>
                    </a:p>
                  </a:txBody>
                  <a:tcPr marL="7350" marR="7350" marT="7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1258233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молин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0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6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6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6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8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460453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юбинская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9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5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7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68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6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8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681305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ин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8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7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2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8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31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3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01430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ырау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9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86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4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80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30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2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0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3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2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0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06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 7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9304943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точно-Казахстанская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6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2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6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80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 0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29802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мбыл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1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5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8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9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8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4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2616438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падно-Казахстанская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9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2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7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7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6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8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4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56474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агандинская область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5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0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37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8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7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41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74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3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94080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зылординская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1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9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7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8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09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29241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танайская область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9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1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2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18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5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6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77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0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12601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нгистауская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9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5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20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6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0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1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 5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5179355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влодарская область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5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9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6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2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23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1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9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58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1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7788191"/>
                  </a:ext>
                </a:extLst>
              </a:tr>
              <a:tr h="3698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веро-Казахстанская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6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5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5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9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6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7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221241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кестанская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4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6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3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22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1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26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 1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620272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ымкент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4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5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9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1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7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1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7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7444644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Алматы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04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9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6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 8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4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77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 0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50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8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21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02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1 39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41504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Астан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0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29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67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6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58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 63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73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6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5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4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9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8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3 14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906078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ай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4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1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4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0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6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2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3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46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430031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ысу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7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7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5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1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8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3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3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5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44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5961976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ытауска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8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4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0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4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7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020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03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857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0887909"/>
                  </a:ext>
                </a:extLst>
              </a:tr>
              <a:tr h="18928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 39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 11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 086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 4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 824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35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4 221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 315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 02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092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 1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1 938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97 929</a:t>
                      </a:r>
                    </a:p>
                  </a:txBody>
                  <a:tcPr marL="7350" marR="7350" marT="7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6794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5279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7373932"/>
              </p:ext>
            </p:extLst>
          </p:nvPr>
        </p:nvGraphicFramePr>
        <p:xfrm>
          <a:off x="67345" y="1293166"/>
          <a:ext cx="4941862" cy="5142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374">
                  <a:extLst>
                    <a:ext uri="{9D8B030D-6E8A-4147-A177-3AD203B41FA5}">
                      <a16:colId xmlns:a16="http://schemas.microsoft.com/office/drawing/2014/main" val="2108288477"/>
                    </a:ext>
                  </a:extLst>
                </a:gridCol>
                <a:gridCol w="4146488">
                  <a:extLst>
                    <a:ext uri="{9D8B030D-6E8A-4147-A177-3AD203B41FA5}">
                      <a16:colId xmlns:a16="http://schemas.microsoft.com/office/drawing/2014/main" val="4292483445"/>
                    </a:ext>
                  </a:extLst>
                </a:gridCol>
              </a:tblGrid>
              <a:tr h="8564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общеустановленная ставка, в том числе по дивиденда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864137"/>
                  </a:ext>
                </a:extLst>
              </a:tr>
              <a:tr h="7893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9%</a:t>
                      </a:r>
                      <a:endParaRPr lang="en-US" sz="1800" b="1" kern="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 лица, занимающегося частной практикой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0606"/>
                  </a:ext>
                </a:extLst>
              </a:tr>
              <a:tr h="24510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налогоплательщиков, осуществляющих </a:t>
                      </a: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еализацию продукции собственного производства</a:t>
                      </a:r>
                      <a:r>
                        <a:rPr lang="ru-RU" sz="1600" b="1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о видам деятельности обрабатывающей промышленности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472756"/>
                  </a:ext>
                </a:extLst>
              </a:tr>
              <a:tr h="10452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 крестьянских или фермерских хозяйств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3576879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-3876"/>
            <a:ext cx="12192000" cy="628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АВКИ </a:t>
            </a:r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0729136"/>
              </p:ext>
            </p:extLst>
          </p:nvPr>
        </p:nvGraphicFramePr>
        <p:xfrm>
          <a:off x="5272107" y="1293166"/>
          <a:ext cx="6740506" cy="51472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0379">
                  <a:extLst>
                    <a:ext uri="{9D8B030D-6E8A-4147-A177-3AD203B41FA5}">
                      <a16:colId xmlns:a16="http://schemas.microsoft.com/office/drawing/2014/main" val="2108288477"/>
                    </a:ext>
                  </a:extLst>
                </a:gridCol>
                <a:gridCol w="5970127">
                  <a:extLst>
                    <a:ext uri="{9D8B030D-6E8A-4147-A177-3AD203B41FA5}">
                      <a16:colId xmlns:a16="http://schemas.microsoft.com/office/drawing/2014/main" val="4292483445"/>
                    </a:ext>
                  </a:extLst>
                </a:gridCol>
              </a:tblGrid>
              <a:tr h="45001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ы нерезидента из источников в РК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568144"/>
                  </a:ext>
                </a:extLst>
              </a:tr>
              <a:tr h="9602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ые премии</a:t>
                      </a:r>
                    </a:p>
                    <a:p>
                      <a:pPr marL="625475" lvl="4" indent="-342900" algn="just" defTabSz="914400" rtl="0" eaLnBrk="1" latinLnBrk="0" hangingPunct="1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рост стоимости, дивиденды, вознаграждения, роялт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703084"/>
                  </a:ext>
                </a:extLst>
              </a:tr>
              <a:tr h="19101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вознаграждения по кредитам, ДЦБ </a:t>
                      </a:r>
                    </a:p>
                    <a:p>
                      <a:pPr marL="625475" marR="0" lvl="4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 panose="020B0604020202020204"/>
                        </a:rPr>
                        <a:t>доходы по трудовому договору, материальная выгода, полученная от работодателя, гонорары руководителя и выплаты членам органа управления, надбавки, страховая выплата по договору пенсионного аннуитета, пенсионные выплат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864137"/>
                  </a:ext>
                </a:extLst>
              </a:tr>
              <a:tr h="18268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ховые премии по договорам перестрахования</a:t>
                      </a:r>
                    </a:p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 от услуг по международной перевозке</a:t>
                      </a:r>
                    </a:p>
                    <a:p>
                      <a:pPr marL="625475" lvl="4" indent="-342900" algn="just">
                        <a:spcBef>
                          <a:spcPts val="900"/>
                        </a:spcBef>
                        <a:buClr>
                          <a:srgbClr val="000000"/>
                        </a:buClr>
                        <a:buFont typeface="Wingdings" panose="05000000000000000000" pitchFamily="2" charset="2"/>
                        <a:buChar char="§"/>
                        <a:tabLst>
                          <a:tab pos="10281920" algn="l"/>
                        </a:tabLst>
                        <a:defRPr/>
                      </a:pPr>
                      <a:r>
                        <a:rPr lang="ru-RU" sz="160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виденды, выплачиваемые лицу, прямо или косвенно владеющему не менее 25% капитала юридического лица-резидента, выплачивающего дивиденд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472756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235248" y="830246"/>
            <a:ext cx="28946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и ИПН п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ам</a:t>
            </a:r>
            <a:endParaRPr lang="en-US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900012" y="831925"/>
            <a:ext cx="35035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и ИПН по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езидентам</a:t>
            </a:r>
            <a:endParaRPr lang="en-U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770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Й ОПЫ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588350" y="1275705"/>
          <a:ext cx="10994050" cy="4010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9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7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78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с «плоской» шкалой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с прогрессивной шкалой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збекистан – 12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ция – от 5% до 49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9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 – 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ликобритания – от 0% до 45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зия</a:t>
                      </a:r>
                      <a:r>
                        <a:rPr lang="ru-RU" sz="16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стралия – от 0% до 45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стония</a:t>
                      </a:r>
                      <a:r>
                        <a:rPr lang="ru-RU" sz="16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– 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рмания – от 0% до 45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мыния – 1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НР – от 3% до 45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кменистан – 1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ША – от 10% до 37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151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 – 1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нада – от 15% до 33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01629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883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АННЫЕ ФНО ЗА 2023 ГОД ПО ФОНДУ ОПЛАТЫ ТРУДА (ФОТ)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6502170"/>
              </p:ext>
            </p:extLst>
          </p:nvPr>
        </p:nvGraphicFramePr>
        <p:xfrm>
          <a:off x="183905" y="815859"/>
          <a:ext cx="11569944" cy="5832595"/>
        </p:xfrm>
        <a:graphic>
          <a:graphicData uri="http://schemas.openxmlformats.org/drawingml/2006/table">
            <a:tbl>
              <a:tblPr/>
              <a:tblGrid>
                <a:gridCol w="1000152">
                  <a:extLst>
                    <a:ext uri="{9D8B030D-6E8A-4147-A177-3AD203B41FA5}">
                      <a16:colId xmlns:a16="http://schemas.microsoft.com/office/drawing/2014/main" val="1308168157"/>
                    </a:ext>
                  </a:extLst>
                </a:gridCol>
                <a:gridCol w="1070869">
                  <a:extLst>
                    <a:ext uri="{9D8B030D-6E8A-4147-A177-3AD203B41FA5}">
                      <a16:colId xmlns:a16="http://schemas.microsoft.com/office/drawing/2014/main" val="63035403"/>
                    </a:ext>
                  </a:extLst>
                </a:gridCol>
                <a:gridCol w="646565">
                  <a:extLst>
                    <a:ext uri="{9D8B030D-6E8A-4147-A177-3AD203B41FA5}">
                      <a16:colId xmlns:a16="http://schemas.microsoft.com/office/drawing/2014/main" val="3511800000"/>
                    </a:ext>
                  </a:extLst>
                </a:gridCol>
                <a:gridCol w="686972">
                  <a:extLst>
                    <a:ext uri="{9D8B030D-6E8A-4147-A177-3AD203B41FA5}">
                      <a16:colId xmlns:a16="http://schemas.microsoft.com/office/drawing/2014/main" val="4199116568"/>
                    </a:ext>
                  </a:extLst>
                </a:gridCol>
                <a:gridCol w="1171896">
                  <a:extLst>
                    <a:ext uri="{9D8B030D-6E8A-4147-A177-3AD203B41FA5}">
                      <a16:colId xmlns:a16="http://schemas.microsoft.com/office/drawing/2014/main" val="2612027745"/>
                    </a:ext>
                  </a:extLst>
                </a:gridCol>
                <a:gridCol w="616256">
                  <a:extLst>
                    <a:ext uri="{9D8B030D-6E8A-4147-A177-3AD203B41FA5}">
                      <a16:colId xmlns:a16="http://schemas.microsoft.com/office/drawing/2014/main" val="618261991"/>
                    </a:ext>
                  </a:extLst>
                </a:gridCol>
                <a:gridCol w="707179">
                  <a:extLst>
                    <a:ext uri="{9D8B030D-6E8A-4147-A177-3AD203B41FA5}">
                      <a16:colId xmlns:a16="http://schemas.microsoft.com/office/drawing/2014/main" val="1555617195"/>
                    </a:ext>
                  </a:extLst>
                </a:gridCol>
                <a:gridCol w="1780574">
                  <a:extLst>
                    <a:ext uri="{9D8B030D-6E8A-4147-A177-3AD203B41FA5}">
                      <a16:colId xmlns:a16="http://schemas.microsoft.com/office/drawing/2014/main" val="4133012882"/>
                    </a:ext>
                  </a:extLst>
                </a:gridCol>
                <a:gridCol w="1697227">
                  <a:extLst>
                    <a:ext uri="{9D8B030D-6E8A-4147-A177-3AD203B41FA5}">
                      <a16:colId xmlns:a16="http://schemas.microsoft.com/office/drawing/2014/main" val="1666800358"/>
                    </a:ext>
                  </a:extLst>
                </a:gridCol>
                <a:gridCol w="585949">
                  <a:extLst>
                    <a:ext uri="{9D8B030D-6E8A-4147-A177-3AD203B41FA5}">
                      <a16:colId xmlns:a16="http://schemas.microsoft.com/office/drawing/2014/main" val="628746892"/>
                    </a:ext>
                  </a:extLst>
                </a:gridCol>
                <a:gridCol w="686972">
                  <a:extLst>
                    <a:ext uri="{9D8B030D-6E8A-4147-A177-3AD203B41FA5}">
                      <a16:colId xmlns:a16="http://schemas.microsoft.com/office/drawing/2014/main" val="3385766293"/>
                    </a:ext>
                  </a:extLst>
                </a:gridCol>
                <a:gridCol w="919333">
                  <a:extLst>
                    <a:ext uri="{9D8B030D-6E8A-4147-A177-3AD203B41FA5}">
                      <a16:colId xmlns:a16="http://schemas.microsoft.com/office/drawing/2014/main" val="2554762911"/>
                    </a:ext>
                  </a:extLst>
                </a:gridCol>
              </a:tblGrid>
              <a:tr h="6341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емес. доход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налоговых агентов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c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.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работников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c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.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числено доходов, млн. тенге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, подлежащий уплате в бюджет, 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тенге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c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.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ая нагрузка</a:t>
                      </a:r>
                    </a:p>
                  </a:txBody>
                  <a:tcPr marL="4356" marR="4356" marT="435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377963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-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 3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16 5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0 186,2 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7 240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479941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2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9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09 07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97 556,6 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5 260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00191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-1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3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9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2 08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6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975 434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0 885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7294138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-2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 7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7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9 9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095 43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6 006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000017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-2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 3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1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7 7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252 422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9 239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99009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-3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 8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6 96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49 114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6 983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399409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-3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 6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6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1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7 2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69 436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9 410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282476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0-4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5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0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7 9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,6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316 915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7 563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607968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-4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8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,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 8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9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188 591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0 535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21663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-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8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8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 7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1 043 811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2 193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1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43587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-5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3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22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884 211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1 782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6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733816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-6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03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 25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9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59 955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3 722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7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66762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-6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2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6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 33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30 538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5 378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24040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0-7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8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0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0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11 343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7 166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7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6949898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0-7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8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0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 2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22 317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1 253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2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12074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-8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1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18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2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55 604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6 392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566699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-8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47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,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 90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03 481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2 759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6999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0-9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1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4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 15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0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59 88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9 718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1187617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0-9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91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2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57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3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18 688,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6 687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,6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672764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0-1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4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,0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25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5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02 687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5 501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,8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443282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-12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05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4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57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4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787 552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1 474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,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6458083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0-1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83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3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 71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9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66 880,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46 101,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4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8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3926340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-2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20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5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2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7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3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659 190,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53 520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9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8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2629810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0-25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1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7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15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5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346 882,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7 934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9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080201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0-3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0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30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67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216 690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17 574,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,22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0181385"/>
                  </a:ext>
                </a:extLst>
              </a:tr>
              <a:tr h="1927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30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91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86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2 627 155,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157 902,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78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5072629"/>
                  </a:ext>
                </a:extLst>
              </a:tr>
              <a:tr h="18754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8 62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065 751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321 975,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40 188,9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marL="4356" marR="4356" marT="43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589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5031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ВЕДЕНИЕ ПРОГРЕССИВНОЙ ШКАЛЫ ИПН ПО ФОТ 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/1)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788" y="640786"/>
            <a:ext cx="11311287" cy="5898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1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 ОПРЕДЕЛЕНИЯ СТАВОК И ПРЕДЕЛЬНОГО ДОХОДА (к варианту 1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1409CFE0-E1A8-2F66-93E6-40E8349405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205700"/>
              </p:ext>
            </p:extLst>
          </p:nvPr>
        </p:nvGraphicFramePr>
        <p:xfrm>
          <a:off x="462707" y="4202280"/>
          <a:ext cx="11221290" cy="13580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00150">
                  <a:extLst>
                    <a:ext uri="{9D8B030D-6E8A-4147-A177-3AD203B41FA5}">
                      <a16:colId xmlns:a16="http://schemas.microsoft.com/office/drawing/2014/main" val="2182214661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2218529696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2257432511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3024875868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3368000778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77079355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4077287642"/>
                    </a:ext>
                  </a:extLst>
                </a:gridCol>
                <a:gridCol w="1003020">
                  <a:extLst>
                    <a:ext uri="{9D8B030D-6E8A-4147-A177-3AD203B41FA5}">
                      <a16:colId xmlns:a16="http://schemas.microsoft.com/office/drawing/2014/main" val="113024451"/>
                    </a:ext>
                  </a:extLst>
                </a:gridCol>
              </a:tblGrid>
              <a:tr h="452670">
                <a:tc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325281"/>
                  </a:ext>
                </a:extLst>
              </a:tr>
              <a:tr h="452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овая инфляц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135527"/>
                  </a:ext>
                </a:extLst>
              </a:tr>
              <a:tr h="452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с учетом индексации, млн. тенг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73884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86446" y="2692315"/>
            <a:ext cx="1160822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СУММЫ В 3 МЛН. ТЕНГЕ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 учетом озвученных пределов для среднего класса в размер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,5-2 млн. тенг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для расчетов определен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редняя сумм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размер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,7 млн. тенге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нная сумма проиндексирована на фактические и прогнозные уровни инфляции (ПСЭР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69E4154-FE6C-4304-9696-B2E603790A7B}"/>
              </a:ext>
            </a:extLst>
          </p:cNvPr>
          <p:cNvSpPr txBox="1"/>
          <p:nvPr/>
        </p:nvSpPr>
        <p:spPr>
          <a:xfrm>
            <a:off x="232531" y="805898"/>
            <a:ext cx="1127234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, ОЗВУЧЕННЫЕ ГЛАВОЙ ГОСУДАРСТВА В 2020 ГОДУ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 250-300 тыс. тенге – примерно 7%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редний класс (условно от 300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1,5-2 млн. тенге) – 10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одовой доход больше 25 млн. тенге – ставка 15%</a:t>
            </a:r>
          </a:p>
        </p:txBody>
      </p:sp>
    </p:spTree>
    <p:extLst>
      <p:ext uri="{BB962C8B-B14F-4D97-AF65-F5344CB8AC3E}">
        <p14:creationId xmlns:p14="http://schemas.microsoft.com/office/powerpoint/2010/main" val="502745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ЫЕ ПОДХОДЫ ОПРЕДЕЛЕНИЯ СТАВОК И ПРЕДЕЛЬНОГО ДОХОД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92B5B-DAC7-657E-631B-CEDAC54F1DB3}"/>
              </a:ext>
            </a:extLst>
          </p:cNvPr>
          <p:cNvSpPr txBox="1"/>
          <p:nvPr/>
        </p:nvSpPr>
        <p:spPr>
          <a:xfrm>
            <a:off x="233704" y="703658"/>
            <a:ext cx="1142921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ЫЕ ПОДХОДЫ</a:t>
            </a:r>
          </a:p>
          <a:p>
            <a:pPr algn="just"/>
            <a:endParaRPr lang="ru-RU" sz="16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сутствует единая методологию по определению ставок прогрессивного ИПН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носительно распределения доходов населения – процентильная (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ецильная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 система. Например, разные ставки для 30% наименее обеспеченных слоев населения, для 40% более обеспеченного населения, для 30% наиболее обеспеченного населения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опыт СШ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Норвегии, Германии и др.)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именение экономических моделей для оценки влияния различных ставок </a:t>
            </a: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ИПН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 поведение налогоплательщиков, доходы бюджета, ВВП, занятость и др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опыт ОЭСР и других развитых </a:t>
            </a:r>
            <a:r>
              <a:rPr lang="kk-KZ" sz="1600" dirty="0" err="1">
                <a:latin typeface="Arial" panose="020B0604020202020204" pitchFamily="34" charset="0"/>
                <a:cs typeface="Arial" panose="020B0604020202020204" pitchFamily="34" charset="0"/>
              </a:rPr>
              <a:t>стр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так называемого «среднего класс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». Например, по методологии ОЭСР «средний класс» - лица, имеющие доход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75-200% </a:t>
            </a: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kk-KZ" sz="1600" dirty="0" err="1">
                <a:latin typeface="Arial" panose="020B0604020202020204" pitchFamily="34" charset="0"/>
                <a:cs typeface="Arial" panose="020B0604020202020204" pitchFamily="34" charset="0"/>
              </a:rPr>
              <a:t>медианного</a:t>
            </a:r>
            <a:r>
              <a:rPr lang="kk-KZ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600" dirty="0" err="1">
                <a:latin typeface="Arial" panose="020B0604020202020204" pitchFamily="34" charset="0"/>
                <a:cs typeface="Arial" panose="020B0604020202020204" pitchFamily="34" charset="0"/>
              </a:rPr>
              <a:t>дохода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вышенное налогообложение наиболее обеспеченных слоев населения. Например, с 2025 года в РФ повышенный ИПН внедряется только для 3,2% населения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AA447E3-FB74-E4BC-6CFD-95F066551D6F}"/>
              </a:ext>
            </a:extLst>
          </p:cNvPr>
          <p:cNvSpPr/>
          <p:nvPr/>
        </p:nvSpPr>
        <p:spPr>
          <a:xfrm>
            <a:off x="286446" y="5323345"/>
            <a:ext cx="116082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 учетом медианной заработной платы в размере 278 тыс. тенге, для расчетов определены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умм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размер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500 тыс. тенге и выше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816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7</TotalTime>
  <Words>2182</Words>
  <Application>Microsoft Office PowerPoint</Application>
  <PresentationFormat>Широкоэкранный</PresentationFormat>
  <Paragraphs>800</Paragraphs>
  <Slides>1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rial</vt:lpstr>
      <vt:lpstr>Calibri</vt:lpstr>
      <vt:lpstr>Calibri Light</vt:lpstr>
      <vt:lpstr>Century Gothic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91</cp:revision>
  <cp:lastPrinted>2024-10-09T10:53:26Z</cp:lastPrinted>
  <dcterms:created xsi:type="dcterms:W3CDTF">2024-10-07T12:30:20Z</dcterms:created>
  <dcterms:modified xsi:type="dcterms:W3CDTF">2024-10-10T05:08:14Z</dcterms:modified>
</cp:coreProperties>
</file>